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8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113" d="100"/>
          <a:sy n="113" d="100"/>
        </p:scale>
        <p:origin x="51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F9551A-AE03-4FE0-B6A0-2A827AF512B7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C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C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6422C9-BBE2-485A-972D-86990ED6DC9F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53945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821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2880F0-BABD-4CA2-90C9-0672385A908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5FAD266-F530-485F-B163-91228537AA2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777412-CCCB-41E5-946D-40E30665E4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137A8D-FC13-4103-B53E-97ADC3CE9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AED66C-8244-4D41-9395-F9763DF36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859218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08377-28EA-4092-A925-CD1099DA43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F768243-EE93-440E-B351-D654C47AF84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AD6ED3-348E-48AD-B0FF-5A6F7ACEAF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F53AA7-9447-4F6A-B545-443BA2E8F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198EEA-2F63-4370-9C26-FA58417B31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391007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C555A99-A6BD-4B15-ABA0-9CA388A9666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4D9B437-8099-460B-8999-AA9FFBD54E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8A0917-EBAD-4D6D-BF3E-4BB905956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C3EC11-4E13-4847-8B84-D14AF89592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F39276-D187-482B-B84E-2F306E7241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1534644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7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7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1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1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4" y="4335680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1"/>
            </a:lvl1pPr>
            <a:lvl2pPr marL="457206" indent="0">
              <a:buNone/>
              <a:defRPr sz="900"/>
            </a:lvl2pPr>
            <a:lvl3pPr marL="914411" indent="0">
              <a:buNone/>
              <a:defRPr sz="800"/>
            </a:lvl3pPr>
            <a:lvl4pPr marL="1371617" indent="0">
              <a:buNone/>
              <a:defRPr sz="700"/>
            </a:lvl4pPr>
            <a:lvl5pPr marL="1828823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10571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ABEA4-A9FF-4BD5-82B1-EF1594C675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40130C-F75E-47BB-8F20-DFEED479D72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A24F3C-36F2-43BF-8D26-6B6019CEC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682414-D7B8-4F12-91A8-A3D9CB4A19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313DBF-E85F-4DD3-AD4D-EB2D344747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33173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84EC8-9977-4A53-BC45-C82AFF6BE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669A655-C6F1-42E3-8DCC-0EA11E2FDE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541019-0B21-4464-B825-21AE073E7E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51793C-E169-4B45-9F0E-63D931C2E0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ABFD66-6616-48BD-A830-D263922345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110195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3BCFEC-3884-42E8-B109-4D27595498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938AA1-9FEC-4E15-9DF0-0A388B94859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ED807C1-D903-4C1F-85BF-AE96BF8567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D1DC3A-4FFE-4AC4-B733-62A167326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A8E595-9D1B-4140-AE9F-D8515C3B2E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25F66C-5676-4A69-B91D-D20CDF4E7E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140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8EC7A3-F160-4C3E-A432-5A843A0077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38DCC7-DDB5-48C5-91F7-03D27176F9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251C169-6E8F-4FAB-812B-C35D99A16F6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64C16D-0881-4ACA-9169-6077974695E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6EE2777-89FC-4680-89C3-F6092EDE5D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77C821A-2C8A-4D0D-8D0A-3DAAB39AD2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FCD736-EEA4-43D5-8A1B-E6729225F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382047E-A3EA-4450-A3EB-8EF4BE550D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567880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A0BAD-7F42-46CB-B718-132019A648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93B489D-C06A-4C36-AFB2-6DDFB184CD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4EA3E9-80D6-41C3-9347-8E75D47F28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DFDE012-157A-49EA-9BE4-699F43E43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00819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FB6D10-F2FA-4503-8601-6AAF6EAD37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8B346A-922A-4301-A54F-1B87B5FBF8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C18F3B-02DF-4D24-9A04-D588FEFC41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0876453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670A28-032C-439E-90D4-4F6581288D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07644CF-17D7-4671-A039-7C5BA64585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8FCE133-C95D-4335-A7D0-900118C583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628473-F8A8-47F9-9A78-BF7D8BAC15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09E6793-F704-4EBE-AFB5-3549F3F720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AE0A9D-7A92-4FE1-BD3B-00FC8BD09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660479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51A0DA-73F7-46AA-A896-2050FBDD6E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4237B55-3947-49F4-A38E-75BC9875C84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E4A10F-8AAD-41A3-83DD-567545A8C9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584172B-C38D-4B2E-A12A-33DA97728B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5BD0432-09CE-4111-92C5-5D5901CC91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5B53572-D730-46D0-9302-7CA1AFDFC8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952399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2CEF2B5-5939-4EFC-B83D-6CA3692154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BDC76B-C129-4ED6-A8A7-816F44A7FE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5765A4B-BF9D-411B-8A62-A6F14BF61BD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7AC2F6-A926-440C-89FD-1CDF25CFA820}" type="datetimeFigureOut">
              <a:rPr lang="en-CA" smtClean="0"/>
              <a:t>2022-09-0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1AAA9A-D64F-46D1-8D35-2CD9323337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F0B554-C6C7-419C-AE71-2B5F23B2FB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BFF8EE-595F-4F07-829E-1275CB1C6794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165264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63399" y="4167925"/>
            <a:ext cx="4576437" cy="737502"/>
          </a:xfrm>
        </p:spPr>
        <p:txBody>
          <a:bodyPr/>
          <a:lstStyle/>
          <a:p>
            <a:r>
              <a:rPr lang="fr-CA" sz="2000" b="1" dirty="0">
                <a:solidFill>
                  <a:schemeClr val="bg1"/>
                </a:solidFill>
              </a:rPr>
              <a:t>Un programme de gestion du changement pour le </a:t>
            </a:r>
            <a:r>
              <a:rPr lang="fr-CA" sz="2000" b="1" dirty="0" err="1">
                <a:solidFill>
                  <a:schemeClr val="bg1"/>
                </a:solidFill>
              </a:rPr>
              <a:t>PTMdT</a:t>
            </a:r>
            <a:r>
              <a:rPr lang="fr-CA" sz="2000" b="1" dirty="0">
                <a:solidFill>
                  <a:schemeClr val="bg1"/>
                </a:solidFill>
              </a:rPr>
              <a:t> </a:t>
            </a:r>
          </a:p>
          <a:p>
            <a:r>
              <a:rPr lang="fr-CA" sz="1600" dirty="0">
                <a:solidFill>
                  <a:schemeClr val="bg1"/>
                </a:solidFill>
              </a:rPr>
              <a:t>2022</a:t>
            </a:r>
            <a:endParaRPr lang="en-CA" sz="1600" dirty="0">
              <a:solidFill>
                <a:schemeClr val="bg1"/>
              </a:solidFill>
            </a:endParaRPr>
          </a:p>
        </p:txBody>
      </p:sp>
      <p:sp>
        <p:nvSpPr>
          <p:cNvPr id="9" name="Rectangle 8" descr="White rectangle"/>
          <p:cNvSpPr/>
          <p:nvPr/>
        </p:nvSpPr>
        <p:spPr>
          <a:xfrm>
            <a:off x="-8413" y="6147123"/>
            <a:ext cx="12207758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1" dirty="0">
              <a:solidFill>
                <a:srgbClr val="FFFFFF"/>
              </a:solidFill>
            </a:endParaRPr>
          </a:p>
        </p:txBody>
      </p:sp>
      <p:pic>
        <p:nvPicPr>
          <p:cNvPr id="14" name="Picture 13" descr="Image result for canada wordmark">
            <a:hlinkClick r:id="rId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90" y="6396332"/>
            <a:ext cx="885392" cy="2293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Government of Canada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3" y="6374999"/>
            <a:ext cx="2036645" cy="25066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E329443-CF28-4594-96C5-E61893F9088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206" t="17305" r="64615" b="12890"/>
          <a:stretch/>
        </p:blipFill>
        <p:spPr>
          <a:xfrm>
            <a:off x="77638" y="254664"/>
            <a:ext cx="5062198" cy="6006397"/>
          </a:xfrm>
          <a:prstGeom prst="rect">
            <a:avLst/>
          </a:prstGeom>
        </p:spPr>
      </p:pic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9C7B267-8E4E-4606-83CD-593084358E15}"/>
              </a:ext>
            </a:extLst>
          </p:cNvPr>
          <p:cNvSpPr txBox="1">
            <a:spLocks/>
          </p:cNvSpPr>
          <p:nvPr/>
        </p:nvSpPr>
        <p:spPr>
          <a:xfrm>
            <a:off x="5170494" y="2135703"/>
            <a:ext cx="6750606" cy="7375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1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2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CA" sz="7200" b="1" dirty="0">
                <a:solidFill>
                  <a:schemeClr val="accent3">
                    <a:lumMod val="75000"/>
                  </a:schemeClr>
                </a:solidFill>
                <a:latin typeface="Arial Rounded MT Bold" panose="020F0704030504030204" pitchFamily="34" charset="0"/>
              </a:rPr>
              <a:t>Programme en boite de </a:t>
            </a:r>
            <a:r>
              <a:rPr lang="fr-CA" sz="7200" b="1" dirty="0" err="1">
                <a:solidFill>
                  <a:schemeClr val="accent3">
                    <a:lumMod val="75000"/>
                  </a:schemeClr>
                </a:solidFill>
                <a:latin typeface="Arial Rounded MT Bold" panose="020F0704030504030204" pitchFamily="34" charset="0"/>
              </a:rPr>
              <a:t>GdC</a:t>
            </a:r>
            <a:endParaRPr lang="en-CA" sz="6000" dirty="0">
              <a:solidFill>
                <a:schemeClr val="accent3">
                  <a:lumMod val="75000"/>
                </a:scheme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64C78DB9-94CC-4865-83F6-8F8D1EE6E014}"/>
              </a:ext>
            </a:extLst>
          </p:cNvPr>
          <p:cNvSpPr txBox="1">
            <a:spLocks/>
          </p:cNvSpPr>
          <p:nvPr/>
        </p:nvSpPr>
        <p:spPr>
          <a:xfrm>
            <a:off x="5751425" y="4748567"/>
            <a:ext cx="5930534" cy="73750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00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6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11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1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2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CA" sz="2000" b="1" dirty="0">
                <a:latin typeface="+mj-lt"/>
              </a:rPr>
              <a:t>Une solution de gestion du changement tout-en-un pour le Programme de transformation du milieu de travail</a:t>
            </a:r>
            <a:endParaRPr lang="en-CA" sz="1600" b="1" dirty="0">
              <a:latin typeface="+mj-lt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31B9B4-E232-4917-9FCA-414BC4874280}"/>
              </a:ext>
            </a:extLst>
          </p:cNvPr>
          <p:cNvSpPr txBox="1"/>
          <p:nvPr/>
        </p:nvSpPr>
        <p:spPr>
          <a:xfrm rot="815816">
            <a:off x="4581480" y="822293"/>
            <a:ext cx="511805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fr-FR" sz="2400" dirty="0">
                <a:solidFill>
                  <a:schemeClr val="accent4"/>
                </a:solidFill>
                <a:latin typeface="Modern Love Grunge" panose="020B0604020202020204" pitchFamily="82" charset="0"/>
              </a:rPr>
              <a:t>Colis expédié...arrivera à destination le 12 septembre !</a:t>
            </a:r>
            <a:endParaRPr kumimoji="0" lang="en-CA" sz="2400" b="0" i="0" u="none" strike="noStrike" kern="1200" cap="none" spc="0" normalizeH="0" baseline="0" noProof="0" dirty="0">
              <a:ln>
                <a:noFill/>
              </a:ln>
              <a:solidFill>
                <a:schemeClr val="accent4"/>
              </a:solidFill>
              <a:effectLst/>
              <a:uLnTx/>
              <a:uFillTx/>
              <a:latin typeface="Modern Love Grunge" panose="020B0604020202020204" pitchFamily="8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788CFF2-23F1-4A0F-BC6F-A55F98D35B24}"/>
              </a:ext>
            </a:extLst>
          </p:cNvPr>
          <p:cNvSpPr txBox="1"/>
          <p:nvPr/>
        </p:nvSpPr>
        <p:spPr>
          <a:xfrm>
            <a:off x="9929359" y="5625396"/>
            <a:ext cx="1752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CA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Version 1</a:t>
            </a:r>
          </a:p>
          <a:p>
            <a:pPr algn="r"/>
            <a:r>
              <a:rPr lang="en-CA" dirty="0" err="1">
                <a:solidFill>
                  <a:schemeClr val="accent3">
                    <a:lumMod val="75000"/>
                  </a:schemeClr>
                </a:solidFill>
                <a:latin typeface="+mj-lt"/>
              </a:rPr>
              <a:t>Septembre</a:t>
            </a:r>
            <a:r>
              <a:rPr lang="en-CA" dirty="0">
                <a:solidFill>
                  <a:schemeClr val="accent3">
                    <a:lumMod val="75000"/>
                  </a:schemeClr>
                </a:solidFill>
                <a:latin typeface="+mj-lt"/>
              </a:rPr>
              <a:t> 2022</a:t>
            </a:r>
          </a:p>
        </p:txBody>
      </p:sp>
      <p:pic>
        <p:nvPicPr>
          <p:cNvPr id="18" name="Picture 4" descr="image">
            <a:extLst>
              <a:ext uri="{FF2B5EF4-FFF2-40B4-BE49-F238E27FC236}">
                <a16:creationId xmlns:a16="http://schemas.microsoft.com/office/drawing/2014/main" id="{2FCDE3B5-3D80-408E-8238-857E1C73EF6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4156" y="211026"/>
            <a:ext cx="2317467" cy="4521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6177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46</Words>
  <Application>Microsoft Office PowerPoint</Application>
  <PresentationFormat>Widescreen</PresentationFormat>
  <Paragraphs>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Modern Love Grunge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hantal Bemeur</dc:creator>
  <cp:lastModifiedBy>Sophie Genereux</cp:lastModifiedBy>
  <cp:revision>2</cp:revision>
  <dcterms:created xsi:type="dcterms:W3CDTF">2022-09-08T13:47:28Z</dcterms:created>
  <dcterms:modified xsi:type="dcterms:W3CDTF">2022-09-08T15:40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2-09-08T13:47:28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928b205a-5213-44a6-882d-a4bef6291f22</vt:lpwstr>
  </property>
  <property fmtid="{D5CDD505-2E9C-101B-9397-08002B2CF9AE}" pid="8" name="MSIP_Label_834ed4f5-eae4-40c7-82be-b1cdf720a1b9_ContentBits">
    <vt:lpwstr>1</vt:lpwstr>
  </property>
  <property fmtid="{D5CDD505-2E9C-101B-9397-08002B2CF9AE}" pid="9" name="ClassificationContentMarkingHeaderLocations">
    <vt:lpwstr>Office Theme:8</vt:lpwstr>
  </property>
  <property fmtid="{D5CDD505-2E9C-101B-9397-08002B2CF9AE}" pid="10" name="ClassificationContentMarkingHeaderText">
    <vt:lpwstr>UNCLASSIFIED - NON CLASSIFIÉ</vt:lpwstr>
  </property>
</Properties>
</file>